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3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9CF434-D270-0F92-6014-54952105A9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think-cell data - do not delete" hidden="1">
            <a:extLst>
              <a:ext uri="{FF2B5EF4-FFF2-40B4-BE49-F238E27FC236}">
                <a16:creationId xmlns:a16="http://schemas.microsoft.com/office/drawing/2014/main" id="{CC390B1C-F326-FC8B-C591-8046C7E51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390B1C-F326-FC8B-C591-8046C7E51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B23CDB-E24D-B860-A660-F02A238E8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C5665-01D4-248C-10DD-FDBFD50A5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86016F61-C4B9-9A0D-7FD7-717B86F64875}"/>
              </a:ext>
            </a:extLst>
          </p:cNvPr>
          <p:cNvSpPr/>
          <p:nvPr/>
        </p:nvSpPr>
        <p:spPr>
          <a:xfrm rot="10800000">
            <a:off x="1498501" y="2860772"/>
            <a:ext cx="2228807" cy="291988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59000">
                  <a:schemeClr val="accent1"/>
                </a:gs>
                <a:gs pos="40000">
                  <a:schemeClr val="accent3"/>
                </a:gs>
                <a:gs pos="0">
                  <a:schemeClr val="accent3">
                    <a:alpha val="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933" dirty="0"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D0AC33-0EB1-CF7C-D3D0-E8EA3A819B00}"/>
              </a:ext>
            </a:extLst>
          </p:cNvPr>
          <p:cNvSpPr txBox="1">
            <a:spLocks/>
          </p:cNvSpPr>
          <p:nvPr/>
        </p:nvSpPr>
        <p:spPr>
          <a:xfrm>
            <a:off x="1563047" y="3001251"/>
            <a:ext cx="2099714" cy="338554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IN" sz="1600" b="1" dirty="0">
                <a:cs typeface="Calibri" panose="020F0502020204030204" pitchFamily="34" charset="0"/>
              </a:rPr>
              <a:t>Title</a:t>
            </a:r>
          </a:p>
        </p:txBody>
      </p:sp>
      <p:sp>
        <p:nvSpPr>
          <p:cNvPr id="8" name="Teardrop 7">
            <a:extLst>
              <a:ext uri="{FF2B5EF4-FFF2-40B4-BE49-F238E27FC236}">
                <a16:creationId xmlns:a16="http://schemas.microsoft.com/office/drawing/2014/main" id="{E831DD5A-D671-D5AB-4C8D-F2F58B4FE0AC}"/>
              </a:ext>
            </a:extLst>
          </p:cNvPr>
          <p:cNvSpPr/>
          <p:nvPr/>
        </p:nvSpPr>
        <p:spPr>
          <a:xfrm rot="2700000">
            <a:off x="2033318" y="1550420"/>
            <a:ext cx="1431287" cy="1431286"/>
          </a:xfrm>
          <a:prstGeom prst="teardrop">
            <a:avLst/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26000">
                  <a:schemeClr val="accent1">
                    <a:alpha val="0"/>
                  </a:schemeClr>
                </a:gs>
                <a:gs pos="58000">
                  <a:schemeClr val="accent3"/>
                </a:gs>
                <a:gs pos="0">
                  <a:schemeClr val="accent3">
                    <a:alpha val="0"/>
                  </a:schemeClr>
                </a:gs>
                <a:gs pos="80000">
                  <a:schemeClr val="accent1">
                    <a:alpha val="0"/>
                  </a:schemeClr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ardrop 8">
            <a:extLst>
              <a:ext uri="{FF2B5EF4-FFF2-40B4-BE49-F238E27FC236}">
                <a16:creationId xmlns:a16="http://schemas.microsoft.com/office/drawing/2014/main" id="{3E3D3765-FA2C-0396-E739-EBC448A4D36C}"/>
              </a:ext>
            </a:extLst>
          </p:cNvPr>
          <p:cNvSpPr/>
          <p:nvPr/>
        </p:nvSpPr>
        <p:spPr>
          <a:xfrm rot="2700000">
            <a:off x="1761202" y="1532113"/>
            <a:ext cx="1431287" cy="1431286"/>
          </a:xfrm>
          <a:prstGeom prst="teardrop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11BE18-D566-E460-45AA-8814448CE5A2}"/>
              </a:ext>
            </a:extLst>
          </p:cNvPr>
          <p:cNvSpPr/>
          <p:nvPr/>
        </p:nvSpPr>
        <p:spPr>
          <a:xfrm rot="2700000">
            <a:off x="1839414" y="1549727"/>
            <a:ext cx="1431289" cy="1227437"/>
          </a:xfrm>
          <a:custGeom>
            <a:avLst/>
            <a:gdLst>
              <a:gd name="connsiteX0" fmla="*/ 258577 w 1765666"/>
              <a:gd name="connsiteY0" fmla="*/ 258575 h 1514187"/>
              <a:gd name="connsiteX1" fmla="*/ 882834 w 1765666"/>
              <a:gd name="connsiteY1" fmla="*/ 0 h 1514187"/>
              <a:gd name="connsiteX2" fmla="*/ 1765666 w 1765666"/>
              <a:gd name="connsiteY2" fmla="*/ 0 h 1514187"/>
              <a:gd name="connsiteX3" fmla="*/ 1765666 w 1765666"/>
              <a:gd name="connsiteY3" fmla="*/ 15700 h 1514187"/>
              <a:gd name="connsiteX4" fmla="*/ 267179 w 1765666"/>
              <a:gd name="connsiteY4" fmla="*/ 1514187 h 1514187"/>
              <a:gd name="connsiteX5" fmla="*/ 258576 w 1765666"/>
              <a:gd name="connsiteY5" fmla="*/ 1507089 h 1514187"/>
              <a:gd name="connsiteX6" fmla="*/ 0 w 1765666"/>
              <a:gd name="connsiteY6" fmla="*/ 882832 h 1514187"/>
              <a:gd name="connsiteX7" fmla="*/ 1 w 1765666"/>
              <a:gd name="connsiteY7" fmla="*/ 882832 h 1514187"/>
              <a:gd name="connsiteX8" fmla="*/ 258577 w 1765666"/>
              <a:gd name="connsiteY8" fmla="*/ 258575 h 151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5666" h="1514187">
                <a:moveTo>
                  <a:pt x="258577" y="258575"/>
                </a:moveTo>
                <a:cubicBezTo>
                  <a:pt x="418338" y="98814"/>
                  <a:pt x="639047" y="0"/>
                  <a:pt x="882834" y="0"/>
                </a:cubicBezTo>
                <a:lnTo>
                  <a:pt x="1765666" y="0"/>
                </a:lnTo>
                <a:lnTo>
                  <a:pt x="1765666" y="15700"/>
                </a:lnTo>
                <a:lnTo>
                  <a:pt x="267179" y="1514187"/>
                </a:lnTo>
                <a:lnTo>
                  <a:pt x="258576" y="1507089"/>
                </a:lnTo>
                <a:cubicBezTo>
                  <a:pt x="98815" y="1347327"/>
                  <a:pt x="0" y="1126619"/>
                  <a:pt x="0" y="882832"/>
                </a:cubicBezTo>
                <a:lnTo>
                  <a:pt x="1" y="882832"/>
                </a:lnTo>
                <a:cubicBezTo>
                  <a:pt x="1" y="639044"/>
                  <a:pt x="98816" y="418337"/>
                  <a:pt x="258577" y="258575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5232B3-BAEA-9F85-847B-A6A423B21A1F}"/>
              </a:ext>
            </a:extLst>
          </p:cNvPr>
          <p:cNvSpPr txBox="1"/>
          <p:nvPr/>
        </p:nvSpPr>
        <p:spPr>
          <a:xfrm>
            <a:off x="2230646" y="1600641"/>
            <a:ext cx="582170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/>
            <a:r>
              <a:rPr lang="en-IN" sz="3733" b="1" dirty="0">
                <a:solidFill>
                  <a:schemeClr val="bg1"/>
                </a:solidFill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8B247B00-23E5-B141-D034-8B1BCA73A5D6}"/>
              </a:ext>
            </a:extLst>
          </p:cNvPr>
          <p:cNvSpPr/>
          <p:nvPr/>
        </p:nvSpPr>
        <p:spPr>
          <a:xfrm rot="10800000">
            <a:off x="3820566" y="2860772"/>
            <a:ext cx="2228807" cy="291988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59000">
                  <a:schemeClr val="accent1"/>
                </a:gs>
                <a:gs pos="40000">
                  <a:schemeClr val="accent3"/>
                </a:gs>
                <a:gs pos="0">
                  <a:schemeClr val="accent3">
                    <a:alpha val="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933" dirty="0"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FFF4D4-7A89-CC02-74B8-8612FF6BF484}"/>
              </a:ext>
            </a:extLst>
          </p:cNvPr>
          <p:cNvSpPr txBox="1">
            <a:spLocks/>
          </p:cNvSpPr>
          <p:nvPr/>
        </p:nvSpPr>
        <p:spPr>
          <a:xfrm>
            <a:off x="3885112" y="3001251"/>
            <a:ext cx="2099714" cy="338554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US" sz="1600" b="1" dirty="0">
                <a:cs typeface="Calibri" panose="020F0502020204030204" pitchFamily="34" charset="0"/>
              </a:rPr>
              <a:t>Title</a:t>
            </a:r>
          </a:p>
        </p:txBody>
      </p:sp>
      <p:sp>
        <p:nvSpPr>
          <p:cNvPr id="14" name="Teardrop 13">
            <a:extLst>
              <a:ext uri="{FF2B5EF4-FFF2-40B4-BE49-F238E27FC236}">
                <a16:creationId xmlns:a16="http://schemas.microsoft.com/office/drawing/2014/main" id="{CFA6B615-7EE2-6DCB-DB5E-59995D8020F8}"/>
              </a:ext>
            </a:extLst>
          </p:cNvPr>
          <p:cNvSpPr/>
          <p:nvPr/>
        </p:nvSpPr>
        <p:spPr>
          <a:xfrm rot="2700000">
            <a:off x="4355382" y="1550420"/>
            <a:ext cx="1431287" cy="1431286"/>
          </a:xfrm>
          <a:prstGeom prst="teardrop">
            <a:avLst/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26000">
                  <a:schemeClr val="accent1">
                    <a:alpha val="0"/>
                  </a:schemeClr>
                </a:gs>
                <a:gs pos="58000">
                  <a:schemeClr val="accent3"/>
                </a:gs>
                <a:gs pos="0">
                  <a:schemeClr val="accent3">
                    <a:alpha val="0"/>
                  </a:schemeClr>
                </a:gs>
                <a:gs pos="80000">
                  <a:schemeClr val="accent1">
                    <a:alpha val="0"/>
                  </a:schemeClr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ardrop 14">
            <a:extLst>
              <a:ext uri="{FF2B5EF4-FFF2-40B4-BE49-F238E27FC236}">
                <a16:creationId xmlns:a16="http://schemas.microsoft.com/office/drawing/2014/main" id="{747B18C7-40AC-E78E-EE91-12D89618207D}"/>
              </a:ext>
            </a:extLst>
          </p:cNvPr>
          <p:cNvSpPr/>
          <p:nvPr/>
        </p:nvSpPr>
        <p:spPr>
          <a:xfrm rot="2700000">
            <a:off x="4083267" y="1532113"/>
            <a:ext cx="1431287" cy="1431286"/>
          </a:xfrm>
          <a:prstGeom prst="teardrop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4F2E24D-8843-4474-5044-C1F1A240E8C8}"/>
              </a:ext>
            </a:extLst>
          </p:cNvPr>
          <p:cNvSpPr/>
          <p:nvPr/>
        </p:nvSpPr>
        <p:spPr>
          <a:xfrm rot="2700000">
            <a:off x="4161479" y="1549727"/>
            <a:ext cx="1431289" cy="1227437"/>
          </a:xfrm>
          <a:custGeom>
            <a:avLst/>
            <a:gdLst>
              <a:gd name="connsiteX0" fmla="*/ 258577 w 1765666"/>
              <a:gd name="connsiteY0" fmla="*/ 258575 h 1514187"/>
              <a:gd name="connsiteX1" fmla="*/ 882834 w 1765666"/>
              <a:gd name="connsiteY1" fmla="*/ 0 h 1514187"/>
              <a:gd name="connsiteX2" fmla="*/ 1765666 w 1765666"/>
              <a:gd name="connsiteY2" fmla="*/ 0 h 1514187"/>
              <a:gd name="connsiteX3" fmla="*/ 1765666 w 1765666"/>
              <a:gd name="connsiteY3" fmla="*/ 15700 h 1514187"/>
              <a:gd name="connsiteX4" fmla="*/ 267179 w 1765666"/>
              <a:gd name="connsiteY4" fmla="*/ 1514187 h 1514187"/>
              <a:gd name="connsiteX5" fmla="*/ 258576 w 1765666"/>
              <a:gd name="connsiteY5" fmla="*/ 1507089 h 1514187"/>
              <a:gd name="connsiteX6" fmla="*/ 0 w 1765666"/>
              <a:gd name="connsiteY6" fmla="*/ 882832 h 1514187"/>
              <a:gd name="connsiteX7" fmla="*/ 1 w 1765666"/>
              <a:gd name="connsiteY7" fmla="*/ 882832 h 1514187"/>
              <a:gd name="connsiteX8" fmla="*/ 258577 w 1765666"/>
              <a:gd name="connsiteY8" fmla="*/ 258575 h 151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5666" h="1514187">
                <a:moveTo>
                  <a:pt x="258577" y="258575"/>
                </a:moveTo>
                <a:cubicBezTo>
                  <a:pt x="418338" y="98814"/>
                  <a:pt x="639047" y="0"/>
                  <a:pt x="882834" y="0"/>
                </a:cubicBezTo>
                <a:lnTo>
                  <a:pt x="1765666" y="0"/>
                </a:lnTo>
                <a:lnTo>
                  <a:pt x="1765666" y="15700"/>
                </a:lnTo>
                <a:lnTo>
                  <a:pt x="267179" y="1514187"/>
                </a:lnTo>
                <a:lnTo>
                  <a:pt x="258576" y="1507089"/>
                </a:lnTo>
                <a:cubicBezTo>
                  <a:pt x="98815" y="1347327"/>
                  <a:pt x="0" y="1126619"/>
                  <a:pt x="0" y="882832"/>
                </a:cubicBezTo>
                <a:lnTo>
                  <a:pt x="1" y="882832"/>
                </a:lnTo>
                <a:cubicBezTo>
                  <a:pt x="1" y="639044"/>
                  <a:pt x="98816" y="418337"/>
                  <a:pt x="258577" y="258575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8D2FE9-B5C1-816A-4C8B-D8361EA9093B}"/>
              </a:ext>
            </a:extLst>
          </p:cNvPr>
          <p:cNvSpPr txBox="1"/>
          <p:nvPr/>
        </p:nvSpPr>
        <p:spPr>
          <a:xfrm>
            <a:off x="4552711" y="1600641"/>
            <a:ext cx="582170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/>
            <a:r>
              <a:rPr lang="en-IN" sz="3733" b="1" dirty="0">
                <a:solidFill>
                  <a:schemeClr val="bg1"/>
                </a:solidFill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2AD02E0D-89E0-257D-6D73-C91979FB0F8E}"/>
              </a:ext>
            </a:extLst>
          </p:cNvPr>
          <p:cNvSpPr/>
          <p:nvPr/>
        </p:nvSpPr>
        <p:spPr>
          <a:xfrm rot="10800000">
            <a:off x="6142629" y="2860772"/>
            <a:ext cx="2228807" cy="291988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59000">
                  <a:schemeClr val="accent1"/>
                </a:gs>
                <a:gs pos="40000">
                  <a:schemeClr val="accent3"/>
                </a:gs>
                <a:gs pos="0">
                  <a:schemeClr val="accent3">
                    <a:alpha val="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933" dirty="0"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3C7A84F-1025-9064-575F-CC14979D289A}"/>
              </a:ext>
            </a:extLst>
          </p:cNvPr>
          <p:cNvSpPr txBox="1">
            <a:spLocks/>
          </p:cNvSpPr>
          <p:nvPr/>
        </p:nvSpPr>
        <p:spPr>
          <a:xfrm>
            <a:off x="6207175" y="3001251"/>
            <a:ext cx="2099714" cy="338554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US" sz="1600" b="1" dirty="0">
                <a:cs typeface="Calibri" panose="020F0502020204030204" pitchFamily="34" charset="0"/>
              </a:rPr>
              <a:t>Title</a:t>
            </a:r>
          </a:p>
        </p:txBody>
      </p:sp>
      <p:sp>
        <p:nvSpPr>
          <p:cNvPr id="20" name="Teardrop 19">
            <a:extLst>
              <a:ext uri="{FF2B5EF4-FFF2-40B4-BE49-F238E27FC236}">
                <a16:creationId xmlns:a16="http://schemas.microsoft.com/office/drawing/2014/main" id="{9B6DAC3D-419A-560F-15FB-5B3ACAAAA2E8}"/>
              </a:ext>
            </a:extLst>
          </p:cNvPr>
          <p:cNvSpPr/>
          <p:nvPr/>
        </p:nvSpPr>
        <p:spPr>
          <a:xfrm rot="2700000">
            <a:off x="6677446" y="1550420"/>
            <a:ext cx="1431287" cy="1431286"/>
          </a:xfrm>
          <a:prstGeom prst="teardrop">
            <a:avLst/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26000">
                  <a:schemeClr val="accent1">
                    <a:alpha val="0"/>
                  </a:schemeClr>
                </a:gs>
                <a:gs pos="58000">
                  <a:schemeClr val="accent3"/>
                </a:gs>
                <a:gs pos="0">
                  <a:schemeClr val="accent3">
                    <a:alpha val="0"/>
                  </a:schemeClr>
                </a:gs>
                <a:gs pos="80000">
                  <a:schemeClr val="accent1">
                    <a:alpha val="0"/>
                  </a:schemeClr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ardrop 20">
            <a:extLst>
              <a:ext uri="{FF2B5EF4-FFF2-40B4-BE49-F238E27FC236}">
                <a16:creationId xmlns:a16="http://schemas.microsoft.com/office/drawing/2014/main" id="{A2D3AEE4-FBEF-C9F2-5D66-2EA6A4CF4740}"/>
              </a:ext>
            </a:extLst>
          </p:cNvPr>
          <p:cNvSpPr/>
          <p:nvPr/>
        </p:nvSpPr>
        <p:spPr>
          <a:xfrm rot="2700000">
            <a:off x="6405330" y="1532113"/>
            <a:ext cx="1431287" cy="1431286"/>
          </a:xfrm>
          <a:prstGeom prst="teardrop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C46771D-CEA3-C8E6-0DB3-4723A55DA452}"/>
              </a:ext>
            </a:extLst>
          </p:cNvPr>
          <p:cNvSpPr/>
          <p:nvPr/>
        </p:nvSpPr>
        <p:spPr>
          <a:xfrm rot="2700000">
            <a:off x="6483542" y="1549727"/>
            <a:ext cx="1431289" cy="1227437"/>
          </a:xfrm>
          <a:custGeom>
            <a:avLst/>
            <a:gdLst>
              <a:gd name="connsiteX0" fmla="*/ 258577 w 1765666"/>
              <a:gd name="connsiteY0" fmla="*/ 258575 h 1514187"/>
              <a:gd name="connsiteX1" fmla="*/ 882834 w 1765666"/>
              <a:gd name="connsiteY1" fmla="*/ 0 h 1514187"/>
              <a:gd name="connsiteX2" fmla="*/ 1765666 w 1765666"/>
              <a:gd name="connsiteY2" fmla="*/ 0 h 1514187"/>
              <a:gd name="connsiteX3" fmla="*/ 1765666 w 1765666"/>
              <a:gd name="connsiteY3" fmla="*/ 15700 h 1514187"/>
              <a:gd name="connsiteX4" fmla="*/ 267179 w 1765666"/>
              <a:gd name="connsiteY4" fmla="*/ 1514187 h 1514187"/>
              <a:gd name="connsiteX5" fmla="*/ 258576 w 1765666"/>
              <a:gd name="connsiteY5" fmla="*/ 1507089 h 1514187"/>
              <a:gd name="connsiteX6" fmla="*/ 0 w 1765666"/>
              <a:gd name="connsiteY6" fmla="*/ 882832 h 1514187"/>
              <a:gd name="connsiteX7" fmla="*/ 1 w 1765666"/>
              <a:gd name="connsiteY7" fmla="*/ 882832 h 1514187"/>
              <a:gd name="connsiteX8" fmla="*/ 258577 w 1765666"/>
              <a:gd name="connsiteY8" fmla="*/ 258575 h 151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5666" h="1514187">
                <a:moveTo>
                  <a:pt x="258577" y="258575"/>
                </a:moveTo>
                <a:cubicBezTo>
                  <a:pt x="418338" y="98814"/>
                  <a:pt x="639047" y="0"/>
                  <a:pt x="882834" y="0"/>
                </a:cubicBezTo>
                <a:lnTo>
                  <a:pt x="1765666" y="0"/>
                </a:lnTo>
                <a:lnTo>
                  <a:pt x="1765666" y="15700"/>
                </a:lnTo>
                <a:lnTo>
                  <a:pt x="267179" y="1514187"/>
                </a:lnTo>
                <a:lnTo>
                  <a:pt x="258576" y="1507089"/>
                </a:lnTo>
                <a:cubicBezTo>
                  <a:pt x="98815" y="1347327"/>
                  <a:pt x="0" y="1126619"/>
                  <a:pt x="0" y="882832"/>
                </a:cubicBezTo>
                <a:lnTo>
                  <a:pt x="1" y="882832"/>
                </a:lnTo>
                <a:cubicBezTo>
                  <a:pt x="1" y="639044"/>
                  <a:pt x="98816" y="418337"/>
                  <a:pt x="258577" y="258575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0620488-171C-A2C4-ACF9-0C5C837D2CB5}"/>
              </a:ext>
            </a:extLst>
          </p:cNvPr>
          <p:cNvSpPr txBox="1"/>
          <p:nvPr/>
        </p:nvSpPr>
        <p:spPr>
          <a:xfrm>
            <a:off x="6874775" y="1600641"/>
            <a:ext cx="582170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/>
            <a:r>
              <a:rPr lang="en-IN" sz="3733" b="1" dirty="0">
                <a:solidFill>
                  <a:schemeClr val="bg1"/>
                </a:solidFill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A655C443-9BFC-0E3B-FC30-183FE9E7AB1A}"/>
              </a:ext>
            </a:extLst>
          </p:cNvPr>
          <p:cNvSpPr/>
          <p:nvPr/>
        </p:nvSpPr>
        <p:spPr>
          <a:xfrm rot="10800000">
            <a:off x="8464693" y="2860772"/>
            <a:ext cx="2228807" cy="291988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59000">
                  <a:schemeClr val="accent1"/>
                </a:gs>
                <a:gs pos="40000">
                  <a:schemeClr val="accent3"/>
                </a:gs>
                <a:gs pos="0">
                  <a:schemeClr val="accent3">
                    <a:alpha val="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933" dirty="0">
              <a:cs typeface="Calibri" panose="020F05020202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31EA927-61F6-9027-FFF9-A74193AE9661}"/>
              </a:ext>
            </a:extLst>
          </p:cNvPr>
          <p:cNvSpPr txBox="1">
            <a:spLocks/>
          </p:cNvSpPr>
          <p:nvPr/>
        </p:nvSpPr>
        <p:spPr>
          <a:xfrm>
            <a:off x="8529239" y="3001251"/>
            <a:ext cx="2099714" cy="338554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IN" sz="1600" b="1" dirty="0">
                <a:cs typeface="Calibri" panose="020F0502020204030204" pitchFamily="34" charset="0"/>
              </a:rPr>
              <a:t>Title</a:t>
            </a:r>
          </a:p>
        </p:txBody>
      </p:sp>
      <p:sp>
        <p:nvSpPr>
          <p:cNvPr id="26" name="Teardrop 25">
            <a:extLst>
              <a:ext uri="{FF2B5EF4-FFF2-40B4-BE49-F238E27FC236}">
                <a16:creationId xmlns:a16="http://schemas.microsoft.com/office/drawing/2014/main" id="{9128A545-ABCD-8674-8593-D56781B3C5EB}"/>
              </a:ext>
            </a:extLst>
          </p:cNvPr>
          <p:cNvSpPr/>
          <p:nvPr/>
        </p:nvSpPr>
        <p:spPr>
          <a:xfrm rot="2700000">
            <a:off x="8999509" y="1550420"/>
            <a:ext cx="1431287" cy="1431286"/>
          </a:xfrm>
          <a:prstGeom prst="teardrop">
            <a:avLst/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26000">
                  <a:schemeClr val="accent1">
                    <a:alpha val="0"/>
                  </a:schemeClr>
                </a:gs>
                <a:gs pos="58000">
                  <a:schemeClr val="accent3"/>
                </a:gs>
                <a:gs pos="0">
                  <a:schemeClr val="accent3">
                    <a:alpha val="0"/>
                  </a:schemeClr>
                </a:gs>
                <a:gs pos="80000">
                  <a:schemeClr val="accent1">
                    <a:alpha val="0"/>
                  </a:schemeClr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ardrop 26">
            <a:extLst>
              <a:ext uri="{FF2B5EF4-FFF2-40B4-BE49-F238E27FC236}">
                <a16:creationId xmlns:a16="http://schemas.microsoft.com/office/drawing/2014/main" id="{4B958630-A7E8-F23D-3503-1CD2DF50F1BC}"/>
              </a:ext>
            </a:extLst>
          </p:cNvPr>
          <p:cNvSpPr/>
          <p:nvPr/>
        </p:nvSpPr>
        <p:spPr>
          <a:xfrm rot="2700000">
            <a:off x="8727394" y="1532113"/>
            <a:ext cx="1431287" cy="1431286"/>
          </a:xfrm>
          <a:prstGeom prst="teardrop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442594DE-A52B-4096-1365-0D7C7F4F32A2}"/>
              </a:ext>
            </a:extLst>
          </p:cNvPr>
          <p:cNvSpPr/>
          <p:nvPr/>
        </p:nvSpPr>
        <p:spPr>
          <a:xfrm rot="2700000">
            <a:off x="8805606" y="1549727"/>
            <a:ext cx="1431289" cy="1227437"/>
          </a:xfrm>
          <a:custGeom>
            <a:avLst/>
            <a:gdLst>
              <a:gd name="connsiteX0" fmla="*/ 258577 w 1765666"/>
              <a:gd name="connsiteY0" fmla="*/ 258575 h 1514187"/>
              <a:gd name="connsiteX1" fmla="*/ 882834 w 1765666"/>
              <a:gd name="connsiteY1" fmla="*/ 0 h 1514187"/>
              <a:gd name="connsiteX2" fmla="*/ 1765666 w 1765666"/>
              <a:gd name="connsiteY2" fmla="*/ 0 h 1514187"/>
              <a:gd name="connsiteX3" fmla="*/ 1765666 w 1765666"/>
              <a:gd name="connsiteY3" fmla="*/ 15700 h 1514187"/>
              <a:gd name="connsiteX4" fmla="*/ 267179 w 1765666"/>
              <a:gd name="connsiteY4" fmla="*/ 1514187 h 1514187"/>
              <a:gd name="connsiteX5" fmla="*/ 258576 w 1765666"/>
              <a:gd name="connsiteY5" fmla="*/ 1507089 h 1514187"/>
              <a:gd name="connsiteX6" fmla="*/ 0 w 1765666"/>
              <a:gd name="connsiteY6" fmla="*/ 882832 h 1514187"/>
              <a:gd name="connsiteX7" fmla="*/ 1 w 1765666"/>
              <a:gd name="connsiteY7" fmla="*/ 882832 h 1514187"/>
              <a:gd name="connsiteX8" fmla="*/ 258577 w 1765666"/>
              <a:gd name="connsiteY8" fmla="*/ 258575 h 151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5666" h="1514187">
                <a:moveTo>
                  <a:pt x="258577" y="258575"/>
                </a:moveTo>
                <a:cubicBezTo>
                  <a:pt x="418338" y="98814"/>
                  <a:pt x="639047" y="0"/>
                  <a:pt x="882834" y="0"/>
                </a:cubicBezTo>
                <a:lnTo>
                  <a:pt x="1765666" y="0"/>
                </a:lnTo>
                <a:lnTo>
                  <a:pt x="1765666" y="15700"/>
                </a:lnTo>
                <a:lnTo>
                  <a:pt x="267179" y="1514187"/>
                </a:lnTo>
                <a:lnTo>
                  <a:pt x="258576" y="1507089"/>
                </a:lnTo>
                <a:cubicBezTo>
                  <a:pt x="98815" y="1347327"/>
                  <a:pt x="0" y="1126619"/>
                  <a:pt x="0" y="882832"/>
                </a:cubicBezTo>
                <a:lnTo>
                  <a:pt x="1" y="882832"/>
                </a:lnTo>
                <a:cubicBezTo>
                  <a:pt x="1" y="639044"/>
                  <a:pt x="98816" y="418337"/>
                  <a:pt x="258577" y="258575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AF6C6FC-1812-2A36-974E-3E964A04A2F2}"/>
              </a:ext>
            </a:extLst>
          </p:cNvPr>
          <p:cNvSpPr txBox="1"/>
          <p:nvPr/>
        </p:nvSpPr>
        <p:spPr>
          <a:xfrm>
            <a:off x="9196838" y="1600641"/>
            <a:ext cx="582170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/>
            <a:r>
              <a:rPr lang="en-IN" sz="3733" b="1" dirty="0">
                <a:solidFill>
                  <a:schemeClr val="bg1"/>
                </a:solidFill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EF654F9-A4D7-17A8-8A58-1DBE712E1B61}"/>
              </a:ext>
            </a:extLst>
          </p:cNvPr>
          <p:cNvSpPr txBox="1">
            <a:spLocks/>
          </p:cNvSpPr>
          <p:nvPr/>
        </p:nvSpPr>
        <p:spPr>
          <a:xfrm>
            <a:off x="1563047" y="3761156"/>
            <a:ext cx="2099715" cy="31810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>
              <a:spcBef>
                <a:spcPts val="133"/>
              </a:spcBef>
              <a:buClr>
                <a:schemeClr val="tx1"/>
              </a:buClr>
              <a:buSzPct val="100000"/>
            </a:pPr>
            <a:r>
              <a:rPr lang="en-US" sz="1467" dirty="0">
                <a:cs typeface="Calibri" panose="020F0502020204030204" pitchFamily="34" charset="0"/>
              </a:rPr>
              <a:t>Insert Text Her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926B4C7-FB43-F6DC-07DF-E0C62BD15644}"/>
              </a:ext>
            </a:extLst>
          </p:cNvPr>
          <p:cNvSpPr txBox="1">
            <a:spLocks/>
          </p:cNvSpPr>
          <p:nvPr/>
        </p:nvSpPr>
        <p:spPr>
          <a:xfrm>
            <a:off x="3885112" y="3761156"/>
            <a:ext cx="2099715" cy="31810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>
              <a:spcBef>
                <a:spcPts val="133"/>
              </a:spcBef>
              <a:buClr>
                <a:schemeClr val="tx1"/>
              </a:buClr>
              <a:buSzPct val="100000"/>
            </a:pPr>
            <a:r>
              <a:rPr lang="en-US" sz="1467" dirty="0">
                <a:cs typeface="Calibri" panose="020F0502020204030204" pitchFamily="34" charset="0"/>
              </a:rPr>
              <a:t>Insert Text He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2C6F679-E7F7-4BBD-4165-ABE3003FF322}"/>
              </a:ext>
            </a:extLst>
          </p:cNvPr>
          <p:cNvSpPr txBox="1">
            <a:spLocks/>
          </p:cNvSpPr>
          <p:nvPr/>
        </p:nvSpPr>
        <p:spPr>
          <a:xfrm>
            <a:off x="6207175" y="3761156"/>
            <a:ext cx="2099715" cy="31810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>
              <a:spcBef>
                <a:spcPts val="133"/>
              </a:spcBef>
              <a:buClr>
                <a:schemeClr val="tx1"/>
              </a:buClr>
              <a:buSzPct val="100000"/>
            </a:pPr>
            <a:r>
              <a:rPr lang="en-US" sz="1467" dirty="0">
                <a:cs typeface="Calibri" panose="020F0502020204030204" pitchFamily="34" charset="0"/>
              </a:rPr>
              <a:t>Insert Text Her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6AE0F6F-A2C4-8685-09B7-F879ACFF4C9B}"/>
              </a:ext>
            </a:extLst>
          </p:cNvPr>
          <p:cNvSpPr txBox="1">
            <a:spLocks/>
          </p:cNvSpPr>
          <p:nvPr/>
        </p:nvSpPr>
        <p:spPr>
          <a:xfrm>
            <a:off x="8529239" y="3761156"/>
            <a:ext cx="2099715" cy="31810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>
              <a:spcBef>
                <a:spcPts val="133"/>
              </a:spcBef>
              <a:buClr>
                <a:schemeClr val="tx1"/>
              </a:buClr>
              <a:buSzPct val="100000"/>
            </a:pPr>
            <a:r>
              <a:rPr lang="en-US" sz="1467" dirty="0">
                <a:cs typeface="Calibri" panose="020F050202020403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1920477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2</TotalTime>
  <Words>2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Proces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41</cp:revision>
  <dcterms:created xsi:type="dcterms:W3CDTF">2021-03-31T02:49:57Z</dcterms:created>
  <dcterms:modified xsi:type="dcterms:W3CDTF">2025-10-15T02:54:10Z</dcterms:modified>
  <cp:category/>
</cp:coreProperties>
</file>